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sldIdLst>
    <p:sldId id="266" r:id="rId2"/>
  </p:sldIdLst>
  <p:sldSz cx="12192000" cy="6858000"/>
  <p:notesSz cx="6858000" cy="9144000"/>
  <p:custDataLst>
    <p:tags r:id="rId3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E729B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 varScale="1">
        <p:scale>
          <a:sx n="110" d="100"/>
          <a:sy n="110" d="100"/>
        </p:scale>
        <p:origin x="552" y="1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tags" Target="tags/tag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DA57C3F-0FB2-4B2E-BA6A-FEEEFF1AF7E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057400" y="685801"/>
            <a:ext cx="8115300" cy="3046228"/>
          </a:xfrm>
        </p:spPr>
        <p:txBody>
          <a:bodyPr anchor="b">
            <a:normAutofit/>
          </a:bodyPr>
          <a:lstStyle>
            <a:lvl1pPr algn="ctr">
              <a:defRPr sz="3600" cap="all" spc="300"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08583AE9-1CC1-4572-A6E5-E97F80E4766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057400" y="4114800"/>
            <a:ext cx="8115300" cy="2057400"/>
          </a:xfrm>
        </p:spPr>
        <p:txBody>
          <a:bodyPr/>
          <a:lstStyle>
            <a:lvl1pPr marL="0" indent="0" algn="ctr">
              <a:buNone/>
              <a:defRPr sz="2400" i="1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C04DE7C-68AB-403D-B9D8-7398C292C6D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3FEA57E-7C1A-457B-A4CD-5DCEB057B502}" type="datetime1">
              <a:rPr lang="en-US" smtClean="0"/>
              <a:t>10/25/2021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1003E50-6613-4D86-AA22-43B14E7279E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Sample Footer Text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3069AB5-A56D-471F-9236-EFA981E2EA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E28480-1C08-4458-AD97-0283E6FFD09D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7485218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402744C-12E6-455B-B646-2EA92DE0E9A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B7D71C4D-C062-4EEE-9A9A-31ADCC5C8767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944DC97-C26E-407A-9E29-68C52D547BD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1789749-A4CD-447F-8298-2B7988C91CEA}" type="datetime1">
              <a:rPr lang="en-US" smtClean="0"/>
              <a:t>10/25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72E9353-B771-47FF-975E-72337414E0E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Sample Footer Text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EA5A858-B8B2-4364-A7D0-B2E8FAE0ADD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E28480-1C08-4458-AD97-0283E6FFD09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483151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42A6BABE-D80C-4F54-A03C-E1F9EBCA8323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69285191-EF5B-48BE-AB5D-B7BA4C3D093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9FA387A-1231-4FE3-8574-D4331A3432D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A0444D3-C0BA-4587-A56C-581AB9F841BE}" type="datetime1">
              <a:rPr lang="en-US" smtClean="0"/>
              <a:t>10/25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2F21559-4901-4AD3-ABE7-DF02354573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Sample Footer Text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8F6C18E-B751-4E7B-9CD8-1BF44DAB80F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E28480-1C08-4458-AD97-0283E6FFD09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0298805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A49B412-EBAB-4569-B3D9-6B346BF837B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71600" y="685800"/>
            <a:ext cx="9486900" cy="1371600"/>
          </a:xfrm>
        </p:spPr>
        <p:txBody>
          <a:bodyPr>
            <a:normAutofit/>
          </a:bodyPr>
          <a:lstStyle>
            <a:lvl1pPr algn="l">
              <a:defRPr sz="3200" cap="all" spc="300"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5E7C8AE-B0F4-404F-BCAD-A14C18E50D9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8AA9CAD-DAFB-4DE3-9C41-7FD03EA8D8D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1AF2CE-4F37-411C-A3EE-BBBE223265BF}" type="datetime1">
              <a:rPr lang="en-US" smtClean="0"/>
              <a:t>10/25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FCE3137-8136-46C5-AC2F-49E5F55E4C7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Sample Footer Text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F1AB6EF-A0B1-4706-AE44-253A6B182D4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E28480-1C08-4458-AD97-0283E6FFD09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7514902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4C02F68-BF19-468D-B422-54B6D189FA5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774071"/>
          </a:xfrm>
        </p:spPr>
        <p:txBody>
          <a:bodyPr anchor="b">
            <a:normAutofit/>
          </a:bodyPr>
          <a:lstStyle>
            <a:lvl1pPr algn="ctr">
              <a:defRPr sz="5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BCBF7D7-84D4-4A39-B44E-9B029EEB1FE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641624"/>
            <a:ext cx="10515600" cy="1448026"/>
          </a:xfrm>
        </p:spPr>
        <p:txBody>
          <a:bodyPr/>
          <a:lstStyle>
            <a:lvl1pPr marL="0" indent="0" algn="ctr">
              <a:buNone/>
              <a:defRPr sz="2400" i="1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9E29709-D243-41E8-89FA-62FA7AEB52E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6083D4-708C-4BB5-B4FD-30CE9FA12FD5}" type="datetime1">
              <a:rPr lang="en-US" smtClean="0"/>
              <a:t>10/25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AAB99C0-DC2A-4133-A10D-D43A1E05BB1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Sample Footer Text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8122EFD-A17E-47F5-8AC9-EFD6D813DBE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E28480-1C08-4458-AD97-0283E6FFD09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4236199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1C668D-BFBE-4765-A294-8303931B57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46071" y="566278"/>
            <a:ext cx="9512429" cy="965458"/>
          </a:xfrm>
        </p:spPr>
        <p:txBody>
          <a:bodyPr/>
          <a:lstStyle>
            <a:lvl1pPr algn="ctr">
              <a:defRPr cap="all" spc="300"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1B3C212-F55F-4D0D-BFA7-F00A33CAA196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909758" y="2057400"/>
            <a:ext cx="5031521" cy="411956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154BDD7-2575-4E82-887D-DCAF9EB1592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65408" y="2057401"/>
            <a:ext cx="5016834" cy="41195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9CAECC8-3C3A-4A5D-AB7A-1F99E5023D3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D239B2-65BC-4C2A-A62B-3EABFE9590E4}" type="datetime1">
              <a:rPr lang="en-US" smtClean="0"/>
              <a:t>10/25/2021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447609B-ACA4-4323-9340-C7DB166D7A5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Sample Footer Text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7409EA3-C5C7-4AC6-956A-DB9A3B4F314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E28480-1C08-4458-AD97-0283E6FFD09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3970755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AE0CDE0-7431-4F05-AA47-F10EB46C96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6"/>
            <a:ext cx="10276552" cy="1149350"/>
          </a:xfrm>
        </p:spPr>
        <p:txBody>
          <a:bodyPr>
            <a:normAutofit/>
          </a:bodyPr>
          <a:lstStyle>
            <a:lvl1pPr algn="ctr">
              <a:defRPr sz="3200" cap="all" spc="300"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6D9FFA7-D3EA-4CB8-A471-94235AD6259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 i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05360D2-88E8-43C8-92D1-67AB23BBE26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5C768F6-20A1-47A1-90FE-903135EEFD5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AD555EC1-268F-4324-A003-3608AA0D847E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9C55C8E4-FCB8-4E06-9C43-0ACD949A73D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E05F5A-E4A3-476F-A89E-C2B73F2431E4}" type="datetime1">
              <a:rPr lang="en-US" smtClean="0"/>
              <a:t>10/25/2021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8B01C005-C973-4D82-942A-334F1D431A0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Sample Footer Text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AAFB6186-6570-4DE8-8603-70B0A51DFE9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E28480-1C08-4458-AD97-0283E6FFD09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374854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DA5ADD3-88C8-4B01-8CC6-808C0E4160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02634E6A-1390-4101-B78E-7592313407D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3761515-4A26-4F31-9F61-5A10B1FABBFC}" type="datetime1">
              <a:rPr lang="en-US" smtClean="0"/>
              <a:t>10/25/2021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8BC7B90-4C99-4653-872A-3572A02DAE9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Sample Footer Text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3B03516-4D31-49D2-9488-33C734A7A4F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E28480-1C08-4458-AD97-0283E6FFD09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2112544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610D8488-CF25-431B-A87A-AAF141BD0BB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A75DC65-7D1F-4BAB-9695-F7E734143E14}" type="datetime1">
              <a:rPr lang="en-US" smtClean="0"/>
              <a:t>10/25/2021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A2F58E5-C92D-4C64-B867-0576B1EADD0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Sample Footer Text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9216797-ABEC-4FE0-AFDE-36107B96710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E28480-1C08-4458-AD97-0283E6FFD09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4876113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E68F2B0-990D-418E-9D10-2464E986692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6881131-AFFD-4339-9F30-D408B5105CB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A7C47F4-7968-4698-8BD3-A583099FAA1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E12BC6F-3996-4B2B-B8F2-DD3A82CCF76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624077-BD55-4036-8E92-6558FDF3B653}" type="datetime1">
              <a:rPr lang="en-US" smtClean="0"/>
              <a:t>10/25/2021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A832E66-581A-4CF2-A40A-4E24FAAC4AE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Sample Footer Text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83B1C89-C625-4618-81A2-FB34E4DA071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E28480-1C08-4458-AD97-0283E6FFD09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2333501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551486F-443A-4F2D-AB1F-8B1F4C4DE72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E3A21213-E7FB-406A-B8CD-735AAC7AD0D9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4F41A03-500E-49F7-8D99-A1EAFE4D340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391523D-69E9-4EAE-A610-B3A237B7584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4225F2-7107-4609-BCC2-77C63064A5E8}" type="datetime1">
              <a:rPr lang="en-US" smtClean="0"/>
              <a:t>10/25/2021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EDB852F-4134-4AB5-BA87-483B1E1ADD2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Sample Footer Text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E34C5CB-918E-4A09-8222-D36E37B63C0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E28480-1C08-4458-AD97-0283E6FFD09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7975512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C7FA32AA-2BE3-4CB8-BE3C-8A2D589E55B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17247815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9" name="think-cell Slide" r:id="rId15" imgW="395" imgH="396" progId="TCLayout.ActiveDocument.1">
                  <p:embed/>
                </p:oleObj>
              </mc:Choice>
              <mc:Fallback>
                <p:oleObj name="think-cell Slide" r:id="rId15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63AA0686-7BAC-45C0-BA30-0D0CBCE5CE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71600" y="685800"/>
            <a:ext cx="9486900" cy="1371600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34202DE-82CD-407D-8C68-174B0CBB57F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371599" y="2254103"/>
            <a:ext cx="9486901" cy="391809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554AC9D-6E1B-46D3-959F-A068A1EDBDB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 rot="5400000">
            <a:off x="9800022" y="3223751"/>
            <a:ext cx="4114801" cy="41050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 cap="all" spc="300" baseline="0">
                <a:solidFill>
                  <a:schemeClr val="tx2">
                    <a:lumMod val="75000"/>
                    <a:lumOff val="25000"/>
                  </a:schemeClr>
                </a:solidFill>
                <a:latin typeface="+mn-lt"/>
              </a:defRPr>
            </a:lvl1pPr>
          </a:lstStyle>
          <a:p>
            <a:fld id="{D3FE42E8-8B57-452D-A122-4DCE9AC771EF}" type="datetime1">
              <a:rPr lang="en-US" smtClean="0"/>
              <a:t>10/25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5FC0015-9EFB-40F8-BC00-AC2483D6090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 rot="5400000">
            <a:off x="-1708136" y="3223750"/>
            <a:ext cx="4114800" cy="41050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 cap="all" spc="300" baseline="0">
                <a:solidFill>
                  <a:schemeClr val="tx2">
                    <a:lumMod val="75000"/>
                    <a:lumOff val="25000"/>
                  </a:schemeClr>
                </a:solidFill>
                <a:latin typeface="+mn-lt"/>
              </a:defRPr>
            </a:lvl1pPr>
          </a:lstStyle>
          <a:p>
            <a:r>
              <a:rPr lang="en-US" dirty="0"/>
              <a:t>Sample Footer Text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72C732-0E3E-49E0-A72E-D4C08CB4455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16340" y="6356350"/>
            <a:ext cx="87186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spc="300">
                <a:solidFill>
                  <a:schemeClr val="tx2">
                    <a:lumMod val="75000"/>
                    <a:lumOff val="25000"/>
                  </a:schemeClr>
                </a:solidFill>
                <a:latin typeface="+mn-lt"/>
              </a:defRPr>
            </a:lvl1pPr>
          </a:lstStyle>
          <a:p>
            <a:fld id="{F8E28480-1C08-4458-AD97-0283E6FFD09D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7991313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1" r:id="rId1"/>
    <p:sldLayoutId id="2147483670" r:id="rId2"/>
    <p:sldLayoutId id="2147483669" r:id="rId3"/>
    <p:sldLayoutId id="2147483668" r:id="rId4"/>
    <p:sldLayoutId id="2147483667" r:id="rId5"/>
    <p:sldLayoutId id="2147483666" r:id="rId6"/>
    <p:sldLayoutId id="2147483665" r:id="rId7"/>
    <p:sldLayoutId id="2147483664" r:id="rId8"/>
    <p:sldLayoutId id="2147483663" r:id="rId9"/>
    <p:sldLayoutId id="2147483662" r:id="rId10"/>
    <p:sldLayoutId id="2147483661" r:id="rId11"/>
  </p:sldLayoutIdLs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SzPct val="70000"/>
        <a:buFont typeface="Arial" panose="020B0604020202020204" pitchFamily="34" charset="0"/>
        <a:buChar char="•"/>
        <a:defRPr sz="2400" kern="1200">
          <a:solidFill>
            <a:schemeClr val="tx2"/>
          </a:solidFill>
          <a:latin typeface="+mj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SzPct val="70000"/>
        <a:buFont typeface="Arial" panose="020B0604020202020204" pitchFamily="34" charset="0"/>
        <a:buChar char="•"/>
        <a:defRPr sz="2000" kern="1200">
          <a:solidFill>
            <a:schemeClr val="tx2"/>
          </a:solidFill>
          <a:latin typeface="+mj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SzPct val="70000"/>
        <a:buFont typeface="Arial" panose="020B0604020202020204" pitchFamily="34" charset="0"/>
        <a:buChar char="•"/>
        <a:defRPr sz="1800" kern="1200">
          <a:solidFill>
            <a:schemeClr val="tx2"/>
          </a:solidFill>
          <a:latin typeface="+mj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SzPct val="70000"/>
        <a:buFont typeface="Arial" panose="020B0604020202020204" pitchFamily="34" charset="0"/>
        <a:buChar char="•"/>
        <a:defRPr sz="1600" kern="1200">
          <a:solidFill>
            <a:schemeClr val="tx2"/>
          </a:solidFill>
          <a:latin typeface="+mj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SzPct val="70000"/>
        <a:buFont typeface="Arial" panose="020B0604020202020204" pitchFamily="34" charset="0"/>
        <a:buChar char="•"/>
        <a:defRPr sz="1600" kern="1200">
          <a:solidFill>
            <a:schemeClr val="tx2"/>
          </a:solidFill>
          <a:latin typeface="+mj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: Rounded Corners 13">
            <a:extLst>
              <a:ext uri="{FF2B5EF4-FFF2-40B4-BE49-F238E27FC236}">
                <a16:creationId xmlns:a16="http://schemas.microsoft.com/office/drawing/2014/main" id="{0BB34B5A-535A-44B6-89E8-48C067C8B29B}"/>
              </a:ext>
            </a:extLst>
          </p:cNvPr>
          <p:cNvSpPr/>
          <p:nvPr/>
        </p:nvSpPr>
        <p:spPr>
          <a:xfrm>
            <a:off x="0" y="3544389"/>
            <a:ext cx="12192000" cy="346995"/>
          </a:xfrm>
          <a:prstGeom prst="roundRect">
            <a:avLst/>
          </a:prstGeom>
          <a:solidFill>
            <a:srgbClr val="E729BC">
              <a:alpha val="21176"/>
            </a:srgbClr>
          </a:solidFill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534417C-AACB-4B89-A75C-894E2F2EDC5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0"/>
            <a:ext cx="9486900" cy="685799"/>
          </a:xfrm>
        </p:spPr>
        <p:txBody>
          <a:bodyPr/>
          <a:lstStyle/>
          <a:p>
            <a:r>
              <a:rPr lang="en-US" dirty="0"/>
              <a:t>Section B App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39767A0-8F9B-49E2-A621-0FBD170E8BF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23949" y="1012068"/>
            <a:ext cx="5672052" cy="877692"/>
          </a:xfrm>
        </p:spPr>
        <p:txBody>
          <a:bodyPr>
            <a:normAutofit/>
          </a:bodyPr>
          <a:lstStyle/>
          <a:p>
            <a:pPr>
              <a:spcBef>
                <a:spcPts val="0"/>
              </a:spcBef>
            </a:pPr>
            <a:r>
              <a:rPr lang="en-US" sz="1100" dirty="0"/>
              <a:t>Lack of chat analysis options that try accommodate outside the chat interactions</a:t>
            </a:r>
          </a:p>
          <a:p>
            <a:pPr>
              <a:spcBef>
                <a:spcPts val="0"/>
              </a:spcBef>
            </a:pPr>
            <a:r>
              <a:rPr lang="en-US" sz="1100" dirty="0"/>
              <a:t>Many chat analysis options either monitor low level information of very large groups or deep level analysis of one-on-one interactions </a:t>
            </a:r>
          </a:p>
          <a:p>
            <a:pPr>
              <a:spcBef>
                <a:spcPts val="0"/>
              </a:spcBef>
            </a:pPr>
            <a:r>
              <a:rPr lang="en-US" sz="1100" dirty="0"/>
              <a:t>Someone remote from the group wants to determine what is going on while they aren’t there</a:t>
            </a: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DF453C51-3209-465F-909D-36A2A31F90D9}"/>
              </a:ext>
            </a:extLst>
          </p:cNvPr>
          <p:cNvSpPr txBox="1">
            <a:spLocks/>
          </p:cNvSpPr>
          <p:nvPr/>
        </p:nvSpPr>
        <p:spPr>
          <a:xfrm>
            <a:off x="268778" y="529934"/>
            <a:ext cx="1742902" cy="534095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kern="1200" cap="all" spc="300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1800" dirty="0"/>
              <a:t>Problems</a:t>
            </a:r>
            <a:endParaRPr lang="en-US" sz="1400" dirty="0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16132E61-1C99-42F2-907C-66FCFE961A38}"/>
              </a:ext>
            </a:extLst>
          </p:cNvPr>
          <p:cNvSpPr txBox="1">
            <a:spLocks/>
          </p:cNvSpPr>
          <p:nvPr/>
        </p:nvSpPr>
        <p:spPr>
          <a:xfrm>
            <a:off x="268778" y="1622712"/>
            <a:ext cx="1742902" cy="534095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kern="1200" cap="all" spc="300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1800" dirty="0"/>
              <a:t>Solution</a:t>
            </a:r>
            <a:endParaRPr lang="en-US" sz="1400" dirty="0"/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3B97069F-15F6-47F9-86A3-7EBAE5D2E369}"/>
              </a:ext>
            </a:extLst>
          </p:cNvPr>
          <p:cNvSpPr txBox="1">
            <a:spLocks/>
          </p:cNvSpPr>
          <p:nvPr/>
        </p:nvSpPr>
        <p:spPr>
          <a:xfrm>
            <a:off x="423948" y="2065416"/>
            <a:ext cx="5672052" cy="87769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SzPct val="70000"/>
              <a:buFont typeface="Arial" panose="020B0604020202020204" pitchFamily="34" charset="0"/>
              <a:buChar char="•"/>
              <a:defRPr sz="24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SzPct val="70000"/>
              <a:buFont typeface="Arial" panose="020B0604020202020204" pitchFamily="34" charset="0"/>
              <a:buChar char="•"/>
              <a:defRPr sz="20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SzPct val="70000"/>
              <a:buFont typeface="Arial" panose="020B0604020202020204" pitchFamily="34" charset="0"/>
              <a:buChar char="•"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SzPct val="70000"/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SzPct val="70000"/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0"/>
              </a:spcBef>
              <a:buNone/>
            </a:pPr>
            <a:r>
              <a:rPr lang="en-US" sz="1100" dirty="0"/>
              <a:t>Chat analysis app that analyzes medium sized highly interactive groups of people</a:t>
            </a:r>
          </a:p>
          <a:p>
            <a:pPr>
              <a:spcBef>
                <a:spcPts val="0"/>
              </a:spcBef>
            </a:pPr>
            <a:r>
              <a:rPr lang="en-US" sz="1100" dirty="0"/>
              <a:t>Metrics that identify persons, positions, and power outside of the chat</a:t>
            </a:r>
          </a:p>
          <a:p>
            <a:pPr>
              <a:spcBef>
                <a:spcPts val="0"/>
              </a:spcBef>
            </a:pPr>
            <a:r>
              <a:rPr lang="en-US" sz="1100" dirty="0"/>
              <a:t>Allows input of external data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1EFA5EFF-8705-4A07-A972-B7972047A29A}"/>
              </a:ext>
            </a:extLst>
          </p:cNvPr>
          <p:cNvSpPr txBox="1">
            <a:spLocks/>
          </p:cNvSpPr>
          <p:nvPr/>
        </p:nvSpPr>
        <p:spPr>
          <a:xfrm>
            <a:off x="268778" y="2513952"/>
            <a:ext cx="3305695" cy="534095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kern="1200" cap="all" spc="300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1800" dirty="0"/>
              <a:t>Where we are now</a:t>
            </a:r>
            <a:endParaRPr lang="en-US" sz="1400" dirty="0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8B526A3A-5065-4685-BEC7-61CF7417EFBB}"/>
              </a:ext>
            </a:extLst>
          </p:cNvPr>
          <p:cNvSpPr txBox="1">
            <a:spLocks/>
          </p:cNvSpPr>
          <p:nvPr/>
        </p:nvSpPr>
        <p:spPr>
          <a:xfrm>
            <a:off x="423948" y="2975217"/>
            <a:ext cx="5672052" cy="49524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SzPct val="70000"/>
              <a:buFont typeface="Arial" panose="020B0604020202020204" pitchFamily="34" charset="0"/>
              <a:buChar char="•"/>
              <a:defRPr sz="24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SzPct val="70000"/>
              <a:buFont typeface="Arial" panose="020B0604020202020204" pitchFamily="34" charset="0"/>
              <a:buChar char="•"/>
              <a:defRPr sz="20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SzPct val="70000"/>
              <a:buFont typeface="Arial" panose="020B0604020202020204" pitchFamily="34" charset="0"/>
              <a:buChar char="•"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SzPct val="70000"/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SzPct val="70000"/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en-US" sz="1100" dirty="0"/>
              <a:t>Several metrics built off 4 years (2 chats for 2 years) of high level interaction</a:t>
            </a:r>
          </a:p>
          <a:p>
            <a:pPr>
              <a:spcBef>
                <a:spcPts val="0"/>
              </a:spcBef>
            </a:pPr>
            <a:r>
              <a:rPr lang="en-US" sz="1100" dirty="0"/>
              <a:t>Dynamic code intake for multiple types of devices</a:t>
            </a:r>
          </a:p>
          <a:p>
            <a:endParaRPr lang="en-US" dirty="0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8ACEDE8A-B4B5-446B-B818-75A80AA71464}"/>
              </a:ext>
            </a:extLst>
          </p:cNvPr>
          <p:cNvSpPr txBox="1">
            <a:spLocks/>
          </p:cNvSpPr>
          <p:nvPr/>
        </p:nvSpPr>
        <p:spPr>
          <a:xfrm>
            <a:off x="0" y="3468974"/>
            <a:ext cx="12192000" cy="534095"/>
          </a:xfrm>
          <a:prstGeom prst="rect">
            <a:avLst/>
          </a:prstGeom>
          <a:noFill/>
          <a:ln>
            <a:noFill/>
          </a:ln>
          <a:effectLst>
            <a:outerShdw blurRad="57785" dist="33020" dir="318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brightRoom" dir="t">
              <a:rot lat="0" lon="0" rev="600000"/>
            </a:lightRig>
          </a:scene3d>
          <a:sp3d prstMaterial="metal">
            <a:bevelT w="38100" h="57150" prst="angle"/>
          </a:sp3d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kern="1200" cap="all" spc="300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sz="1800" dirty="0"/>
              <a:t>Future Deliverables</a:t>
            </a:r>
            <a:endParaRPr lang="en-US" sz="1400" dirty="0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5D552D7C-A6A7-4542-AD43-509CC36885E1}"/>
              </a:ext>
            </a:extLst>
          </p:cNvPr>
          <p:cNvSpPr txBox="1">
            <a:spLocks/>
          </p:cNvSpPr>
          <p:nvPr/>
        </p:nvSpPr>
        <p:spPr>
          <a:xfrm>
            <a:off x="423948" y="4458424"/>
            <a:ext cx="5672052" cy="49524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SzPct val="70000"/>
              <a:buFont typeface="Arial" panose="020B0604020202020204" pitchFamily="34" charset="0"/>
              <a:buChar char="•"/>
              <a:defRPr sz="24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SzPct val="70000"/>
              <a:buFont typeface="Arial" panose="020B0604020202020204" pitchFamily="34" charset="0"/>
              <a:buChar char="•"/>
              <a:defRPr sz="20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SzPct val="70000"/>
              <a:buFont typeface="Arial" panose="020B0604020202020204" pitchFamily="34" charset="0"/>
              <a:buChar char="•"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SzPct val="70000"/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SzPct val="70000"/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en-US" sz="1100" dirty="0"/>
              <a:t>Sentiment analysis</a:t>
            </a:r>
          </a:p>
          <a:p>
            <a:pPr>
              <a:spcBef>
                <a:spcPts val="0"/>
              </a:spcBef>
            </a:pPr>
            <a:r>
              <a:rPr lang="en-US" sz="1100" dirty="0"/>
              <a:t>Personality identification </a:t>
            </a:r>
          </a:p>
          <a:p>
            <a:endParaRPr lang="en-US" dirty="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929869C3-F85F-4A37-A897-1181E234954D}"/>
              </a:ext>
            </a:extLst>
          </p:cNvPr>
          <p:cNvSpPr txBox="1">
            <a:spLocks/>
          </p:cNvSpPr>
          <p:nvPr/>
        </p:nvSpPr>
        <p:spPr>
          <a:xfrm>
            <a:off x="6556366" y="3962731"/>
            <a:ext cx="4547063" cy="534095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kern="1200" cap="all" spc="300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1800" dirty="0"/>
              <a:t>Growth Plan</a:t>
            </a:r>
            <a:endParaRPr lang="en-US" sz="1400" dirty="0"/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A449D0ED-E7E5-4DA6-878D-7B3EB7049ED4}"/>
              </a:ext>
            </a:extLst>
          </p:cNvPr>
          <p:cNvSpPr txBox="1">
            <a:spLocks/>
          </p:cNvSpPr>
          <p:nvPr/>
        </p:nvSpPr>
        <p:spPr>
          <a:xfrm>
            <a:off x="6650874" y="4458424"/>
            <a:ext cx="5672052" cy="85681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SzPct val="70000"/>
              <a:buFont typeface="Arial" panose="020B0604020202020204" pitchFamily="34" charset="0"/>
              <a:buChar char="•"/>
              <a:defRPr sz="24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SzPct val="70000"/>
              <a:buFont typeface="Arial" panose="020B0604020202020204" pitchFamily="34" charset="0"/>
              <a:buChar char="•"/>
              <a:defRPr sz="20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SzPct val="70000"/>
              <a:buFont typeface="Arial" panose="020B0604020202020204" pitchFamily="34" charset="0"/>
              <a:buChar char="•"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SzPct val="70000"/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SzPct val="70000"/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en-US" sz="1100" dirty="0"/>
              <a:t>Drive user adaption by offering free analytics to close knit cohorts (future MBA classes)</a:t>
            </a:r>
          </a:p>
          <a:p>
            <a:pPr>
              <a:spcBef>
                <a:spcPts val="0"/>
              </a:spcBef>
            </a:pPr>
            <a:r>
              <a:rPr lang="en-US" sz="1100" dirty="0"/>
              <a:t>Expand to international universities within Catalonia/Spain</a:t>
            </a:r>
          </a:p>
          <a:p>
            <a:pPr>
              <a:spcBef>
                <a:spcPts val="0"/>
              </a:spcBef>
            </a:pPr>
            <a:endParaRPr lang="en-US" sz="1100" dirty="0"/>
          </a:p>
          <a:p>
            <a:endParaRPr lang="en-US" dirty="0"/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0F186436-74C4-4FD7-95FD-DDEB8410B215}"/>
              </a:ext>
            </a:extLst>
          </p:cNvPr>
          <p:cNvSpPr txBox="1">
            <a:spLocks/>
          </p:cNvSpPr>
          <p:nvPr/>
        </p:nvSpPr>
        <p:spPr>
          <a:xfrm>
            <a:off x="196387" y="4068078"/>
            <a:ext cx="4547063" cy="390346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kern="1200" cap="all" spc="300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1800" dirty="0"/>
              <a:t>Features</a:t>
            </a:r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49185350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lassicFrameVTI">
  <a:themeElements>
    <a:clrScheme name="AnalogousFromRegularSeedLeftStep">
      <a:dk1>
        <a:srgbClr val="000000"/>
      </a:dk1>
      <a:lt1>
        <a:srgbClr val="FFFFFF"/>
      </a:lt1>
      <a:dk2>
        <a:srgbClr val="301B2B"/>
      </a:dk2>
      <a:lt2>
        <a:srgbClr val="F0F1F3"/>
      </a:lt2>
      <a:accent1>
        <a:srgbClr val="B1A11F"/>
      </a:accent1>
      <a:accent2>
        <a:srgbClr val="D57117"/>
      </a:accent2>
      <a:accent3>
        <a:srgbClr val="E73429"/>
      </a:accent3>
      <a:accent4>
        <a:srgbClr val="D5175B"/>
      </a:accent4>
      <a:accent5>
        <a:srgbClr val="E729BC"/>
      </a:accent5>
      <a:accent6>
        <a:srgbClr val="B117D5"/>
      </a:accent6>
      <a:hlink>
        <a:srgbClr val="5763C7"/>
      </a:hlink>
      <a:folHlink>
        <a:srgbClr val="7F7F7F"/>
      </a:folHlink>
    </a:clrScheme>
    <a:fontScheme name="Goudy and Gill Sans">
      <a:majorFont>
        <a:latin typeface="Goudy Old Style"/>
        <a:ea typeface=""/>
        <a:cs typeface=""/>
      </a:majorFont>
      <a:minorFont>
        <a:latin typeface="Gill Sans M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lassicFrameVTI" id="{4FA2A165-EC65-4FB0-B019-8C8876A1D8E3}" vid="{9D78F1F1-8226-42FD-A1A3-975EDF6D60F8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690</TotalTime>
  <Words>145</Words>
  <Application>Microsoft Office PowerPoint</Application>
  <PresentationFormat>Widescreen</PresentationFormat>
  <Paragraphs>19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6" baseType="lpstr">
      <vt:lpstr>Arial</vt:lpstr>
      <vt:lpstr>Gill Sans MT</vt:lpstr>
      <vt:lpstr>Goudy Old Style</vt:lpstr>
      <vt:lpstr>ClassicFrameVTI</vt:lpstr>
      <vt:lpstr>think-cell Slide</vt:lpstr>
      <vt:lpstr>Section B App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Giannini Giannini, Jasson</dc:creator>
  <cp:lastModifiedBy>Giannini Giannini, Jasson</cp:lastModifiedBy>
  <cp:revision>23</cp:revision>
  <dcterms:created xsi:type="dcterms:W3CDTF">2021-05-20T09:31:22Z</dcterms:created>
  <dcterms:modified xsi:type="dcterms:W3CDTF">2021-10-25T19:14:14Z</dcterms:modified>
</cp:coreProperties>
</file>